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74" r:id="rId6"/>
  </p:sldMasterIdLst>
  <p:notesMasterIdLst>
    <p:notesMasterId r:id="rId21"/>
  </p:notesMasterIdLst>
  <p:sldIdLst>
    <p:sldId id="5658" r:id="rId7"/>
    <p:sldId id="5659" r:id="rId8"/>
    <p:sldId id="5669" r:id="rId9"/>
    <p:sldId id="5670" r:id="rId10"/>
    <p:sldId id="5671" r:id="rId11"/>
    <p:sldId id="5668" r:id="rId12"/>
    <p:sldId id="5673" r:id="rId13"/>
    <p:sldId id="5672" r:id="rId14"/>
    <p:sldId id="5674" r:id="rId15"/>
    <p:sldId id="5675" r:id="rId16"/>
    <p:sldId id="5676" r:id="rId17"/>
    <p:sldId id="5677" r:id="rId18"/>
    <p:sldId id="5678" r:id="rId19"/>
    <p:sldId id="5666" r:id="rId20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ssain Baqir Challawala" initials="HBC" lastIdx="1" clrIdx="0">
    <p:extLst>
      <p:ext uri="{19B8F6BF-5375-455C-9EA6-DF929625EA0E}">
        <p15:presenceInfo xmlns:p15="http://schemas.microsoft.com/office/powerpoint/2012/main" userId="S::HussainC@arg.ae::bf663540-a003-414e-bf5c-2085b5530db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9B1109-A213-4214-AB8C-AA0CD6631D71}" type="datetimeFigureOut">
              <a:rPr lang="en-US" smtClean="0"/>
              <a:t>11/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B570AD-4107-45B7-92D1-2E8A53CC0E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837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06595" y="6513799"/>
            <a:ext cx="4045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C540C7F-8100-4B4F-B016-53D147177690}" type="slidenum">
              <a:rPr lang="en-US" sz="1200" smtClean="0">
                <a:solidFill>
                  <a:prstClr val="white"/>
                </a:solidFill>
                <a:latin typeface="Optima" panose="020B7200000000000000"/>
              </a:rPr>
              <a:pPr/>
              <a:t>‹#›</a:t>
            </a:fld>
            <a:endParaRPr lang="en-US" sz="1200" dirty="0">
              <a:solidFill>
                <a:prstClr val="white"/>
              </a:solidFill>
              <a:latin typeface="Optima" panose="020B720000000000000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6013525" y="0"/>
            <a:ext cx="61784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9">
              <a:solidFill>
                <a:prstClr val="white"/>
              </a:solidFill>
            </a:endParaRPr>
          </a:p>
        </p:txBody>
      </p:sp>
      <p:pic>
        <p:nvPicPr>
          <p:cNvPr id="3" name="pasted-image.pdf"/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11275069" y="6344484"/>
            <a:ext cx="677445" cy="307815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A2FBB2B-78FE-4EE8-8B96-77D564C1DDBF}"/>
              </a:ext>
            </a:extLst>
          </p:cNvPr>
          <p:cNvCxnSpPr/>
          <p:nvPr userDrawn="1"/>
        </p:nvCxnSpPr>
        <p:spPr>
          <a:xfrm>
            <a:off x="404681" y="687014"/>
            <a:ext cx="11411169" cy="800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98D74D87-45F6-436F-B37A-09408B1A813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8963" y="289617"/>
            <a:ext cx="7818917" cy="3729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>
                <a:solidFill>
                  <a:srgbClr val="800000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Shape 920">
            <a:extLst>
              <a:ext uri="{FF2B5EF4-FFF2-40B4-BE49-F238E27FC236}">
                <a16:creationId xmlns:a16="http://schemas.microsoft.com/office/drawing/2014/main" id="{0FA3534D-EBB4-4B97-A2B5-9EE81009C55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0821630" y="6454108"/>
            <a:ext cx="507448" cy="30781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6CB4B4D-7CA3-9044-876B-883B54F8677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961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65610C-19D3-4AC2-BF8E-0A433605AE2C}" type="datetime1">
              <a:rPr lang="en-US" noProof="0" smtClean="0"/>
              <a:t>11/8/2020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3AC632-CBE0-46E5-90EF-472F97772B7E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2356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54532" y="4464028"/>
            <a:ext cx="9144000" cy="1641490"/>
          </a:xfrm>
        </p:spPr>
        <p:txBody>
          <a:bodyPr wrap="none" anchor="t">
            <a:normAutofit/>
          </a:bodyPr>
          <a:lstStyle>
            <a:lvl1pPr algn="l">
              <a:defRPr sz="9600" b="0" spc="-30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7000"/>
                        <a:lumOff val="53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54532" y="3693674"/>
            <a:ext cx="9144000" cy="754025"/>
          </a:xfrm>
        </p:spPr>
        <p:txBody>
          <a:bodyPr anchor="b">
            <a:normAutofit/>
          </a:bodyPr>
          <a:lstStyle>
            <a:lvl1pPr marL="0" indent="0" algn="l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88300B-86EB-44A1-8393-7C70772E3266}" type="datetime1">
              <a:rPr lang="en-US" smtClean="0"/>
              <a:t>11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9256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20000" y="1825625"/>
            <a:ext cx="5025216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9840" y="1825625"/>
            <a:ext cx="503396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B6F0C-F4C8-4F56-A611-842EB7403AFA}" type="datetime1">
              <a:rPr lang="en-US" smtClean="0"/>
              <a:t>11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9781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000" y="1681163"/>
            <a:ext cx="5025216" cy="823912"/>
          </a:xfrm>
        </p:spPr>
        <p:txBody>
          <a:bodyPr anchor="b"/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000" y="2505075"/>
            <a:ext cx="50252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19840" y="1681163"/>
            <a:ext cx="5035548" cy="82391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9840" y="2505075"/>
            <a:ext cx="503554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B97A7-CA60-458B-9BAC-934D9D9B986B}" type="datetime1">
              <a:rPr lang="en-US" smtClean="0"/>
              <a:t>11/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6328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AF1F7-2310-459A-9BB7-0225C1D8B066}" type="datetime1">
              <a:rPr lang="en-US" smtClean="0"/>
              <a:t>11/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281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C1EF30-D1D9-4F92-8B8D-88BEAF23AB03}" type="datetime1">
              <a:rPr lang="en-US" smtClean="0"/>
              <a:t>11/8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749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000" y="2057400"/>
            <a:ext cx="3652025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A6CCA-11D8-41E4-9DC0-CAE896D039A0}" type="datetime1">
              <a:rPr lang="en-US" smtClean="0"/>
              <a:t>11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93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000" y="2057400"/>
            <a:ext cx="3652025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F9EF40-2CA9-4A93-930A-0C43DC6CF020}" type="datetime1">
              <a:rPr lang="en-US" smtClean="0"/>
              <a:t>11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7159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367160"/>
            <a:ext cx="10515600" cy="81935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39788" y="987425"/>
            <a:ext cx="10515600" cy="337973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5186516"/>
            <a:ext cx="10514012" cy="682472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16D91-449F-43F0-838A-FD269425D958}" type="datetime1">
              <a:rPr lang="en-US" smtClean="0"/>
              <a:t>11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604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353434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489399"/>
            <a:ext cx="10514012" cy="1501826"/>
          </a:xfrm>
        </p:spPr>
        <p:txBody>
          <a:bodyPr anchor="ctr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77F45-868A-4E03-931A-6EB735B1E099}" type="datetime1">
              <a:rPr lang="en-US" smtClean="0"/>
              <a:t>11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686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Straight Connector 37"/>
          <p:cNvCxnSpPr/>
          <p:nvPr userDrawn="1"/>
        </p:nvCxnSpPr>
        <p:spPr>
          <a:xfrm>
            <a:off x="404575" y="687014"/>
            <a:ext cx="11408197" cy="800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2" name="Title 1"/>
          <p:cNvSpPr>
            <a:spLocks noGrp="1"/>
          </p:cNvSpPr>
          <p:nvPr>
            <p:ph type="title" idx="4294967295"/>
          </p:nvPr>
        </p:nvSpPr>
        <p:spPr>
          <a:xfrm>
            <a:off x="308882" y="289617"/>
            <a:ext cx="7816881" cy="372904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800000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5" name="pasted-image.pdf"/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11275068" y="6344482"/>
            <a:ext cx="677445" cy="307815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/>
          <p:cNvSpPr txBox="1"/>
          <p:nvPr userDrawn="1"/>
        </p:nvSpPr>
        <p:spPr>
          <a:xfrm>
            <a:off x="106594" y="6513797"/>
            <a:ext cx="4045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C540C7F-8100-4B4F-B016-53D147177690}" type="slidenum">
              <a:rPr lang="en-US" sz="1200" smtClean="0">
                <a:solidFill>
                  <a:prstClr val="black"/>
                </a:solidFill>
                <a:latin typeface="Optima" panose="020B7200000000000000"/>
              </a:rPr>
              <a:pPr/>
              <a:t>‹#›</a:t>
            </a:fld>
            <a:endParaRPr lang="en-US" sz="1200" dirty="0">
              <a:solidFill>
                <a:prstClr val="black"/>
              </a:solidFill>
              <a:latin typeface="Optima" panose="020B72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1229082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365125"/>
            <a:ext cx="9302752" cy="2992904"/>
          </a:xfrm>
        </p:spPr>
        <p:txBody>
          <a:bodyPr anchor="ctr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4501729"/>
            <a:ext cx="10512424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23ECA7-B4E0-4FC1-94BC-F71613BA9E48}" type="datetime1">
              <a:rPr lang="en-US" smtClean="0"/>
              <a:t>11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111044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378903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2326967"/>
            <a:ext cx="10515600" cy="2511835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50581"/>
            <a:ext cx="10514012" cy="1140644"/>
          </a:xfrm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E94245-6B09-46B4-BDE0-407FB4F8EA2E}" type="datetime1">
              <a:rPr lang="en-US" smtClean="0"/>
              <a:t>11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809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337282" y="188595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356798" y="257175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87994" y="1885950"/>
            <a:ext cx="2936241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77441" y="257175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29035" y="1885950"/>
            <a:ext cx="2932113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 dirty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29035" y="257175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A4E3-ECA2-4DB0-9572-B01BA0E73DD2}" type="datetime1">
              <a:rPr lang="en-US" smtClean="0"/>
              <a:t>11/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2760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332085" y="4297503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2085" y="2256354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332085" y="4873765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997" y="4297503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68996" y="2256354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67644" y="4873764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04322" y="4297503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04321" y="2256354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04197" y="4873762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6A717-E026-4809-8773-F39CC833B540}" type="datetime1">
              <a:rPr lang="en-US" smtClean="0"/>
              <a:t>11/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9249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17498-9D2C-4218-BFE7-526F287CBD95}" type="datetime1">
              <a:rPr lang="en-US" smtClean="0"/>
              <a:t>11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752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C0D05-05FE-47FE-9E7C-EBCA7826221C}" type="datetime1">
              <a:rPr lang="en-US" smtClean="0"/>
              <a:t>11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9177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fe Harbor Fr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CB1DF0F7-B59E-504C-B8D9-6884CE5419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3006201" y="6556248"/>
            <a:ext cx="8235222" cy="182880"/>
          </a:xfrm>
        </p:spPr>
        <p:txBody>
          <a:bodyPr/>
          <a:lstStyle>
            <a:lvl1pPr>
              <a:defRPr>
                <a:solidFill>
                  <a:srgbClr val="4E5052"/>
                </a:solidFill>
              </a:defRPr>
            </a:lvl1pPr>
          </a:lstStyle>
          <a:p>
            <a:r>
              <a:rPr lang="en-US"/>
              <a:t>Copyright © 2018, Oracle and/or its affiliates. All rights reserved.</a:t>
            </a: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9831CD28-2844-6C48-A0F4-AD0DC3545C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1278950" y="6556248"/>
            <a:ext cx="381760" cy="182880"/>
          </a:xfrm>
        </p:spPr>
        <p:txBody>
          <a:bodyPr/>
          <a:lstStyle>
            <a:lvl1pPr>
              <a:defRPr>
                <a:solidFill>
                  <a:srgbClr val="4E5052"/>
                </a:solidFill>
              </a:defRPr>
            </a:lvl1pPr>
          </a:lstStyle>
          <a:p>
            <a:fld id="{C51EAA63-D034-42AE-91FA-B13B9518C7B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Oracle logo in white on red staging background">
            <a:extLst>
              <a:ext uri="{FF2B5EF4-FFF2-40B4-BE49-F238E27FC236}">
                <a16:creationId xmlns:a16="http://schemas.microsoft.com/office/drawing/2014/main" id="{69BD50B3-334C-A044-9EE6-B3DDCB8B7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91" y="6263641"/>
            <a:ext cx="1625561" cy="59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59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mage left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079" y="185737"/>
            <a:ext cx="5630740" cy="6229350"/>
          </a:xfrm>
          <a:prstGeom prst="rect">
            <a:avLst/>
          </a:prstGeom>
        </p:spPr>
      </p:pic>
      <p:grpSp>
        <p:nvGrpSpPr>
          <p:cNvPr id="2" name="Group 7"/>
          <p:cNvGrpSpPr/>
          <p:nvPr userDrawn="1"/>
        </p:nvGrpSpPr>
        <p:grpSpPr>
          <a:xfrm>
            <a:off x="0" y="1"/>
            <a:ext cx="12192573" cy="6858000"/>
            <a:chOff x="0" y="0"/>
            <a:chExt cx="12189398" cy="6858000"/>
          </a:xfrm>
        </p:grpSpPr>
        <p:sp>
          <p:nvSpPr>
            <p:cNvPr id="9" name="Rectangle 8"/>
            <p:cNvSpPr/>
            <p:nvPr/>
          </p:nvSpPr>
          <p:spPr bwMode="gray">
            <a:xfrm>
              <a:off x="0" y="0"/>
              <a:ext cx="193962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428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1995151" y="0"/>
              <a:ext cx="193960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428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0" y="6400800"/>
              <a:ext cx="12189396" cy="4572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428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0" y="0"/>
              <a:ext cx="12189398" cy="19202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428">
                <a:solidFill>
                  <a:srgbClr val="FFFFFF"/>
                </a:solidFill>
              </a:endParaRPr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5378073" y="6556248"/>
            <a:ext cx="3201234" cy="18288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sz="675">
                <a:solidFill>
                  <a:srgbClr val="5F5F5F"/>
                </a:solidFill>
              </a:rPr>
              <a:t>Copyright © 201</a:t>
            </a:r>
            <a:r>
              <a:rPr lang="en-GB" sz="675">
                <a:solidFill>
                  <a:srgbClr val="5F5F5F"/>
                </a:solidFill>
              </a:rPr>
              <a:t>8</a:t>
            </a:r>
            <a:r>
              <a:rPr lang="en-US" sz="675">
                <a:solidFill>
                  <a:srgbClr val="5F5F5F"/>
                </a:solidFill>
              </a:rPr>
              <a:t>,</a:t>
            </a:r>
            <a:r>
              <a:rPr sz="675">
                <a:solidFill>
                  <a:srgbClr val="5F5F5F"/>
                </a:solidFill>
              </a:rPr>
              <a:t> Oracle and/or its affiliates. All rights reserved.  |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140" y="6016577"/>
            <a:ext cx="2117653" cy="107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18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with gray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2" y="-3047"/>
            <a:ext cx="12192000" cy="6858000"/>
          </a:xfrm>
          <a:prstGeom prst="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905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688" tIns="48343" rIns="96688" bIns="483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903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31955" y="727100"/>
            <a:ext cx="11128097" cy="360600"/>
          </a:xfrm>
        </p:spPr>
        <p:txBody>
          <a:bodyPr anchor="ctr" anchorCtr="0">
            <a:spAutoFit/>
          </a:bodyPr>
          <a:lstStyle>
            <a:lvl1pPr>
              <a:defRPr>
                <a:solidFill>
                  <a:schemeClr val="bg1"/>
                </a:solidFill>
                <a:effectLst>
                  <a:outerShdw blurRad="50800" dist="38100" dir="5400000" algn="ctr" rotWithShape="0">
                    <a:srgbClr val="000000">
                      <a:alpha val="40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grpSp>
        <p:nvGrpSpPr>
          <p:cNvPr id="3" name="Border"/>
          <p:cNvGrpSpPr/>
          <p:nvPr userDrawn="1"/>
        </p:nvGrpSpPr>
        <p:grpSpPr>
          <a:xfrm>
            <a:off x="-285" y="1"/>
            <a:ext cx="12192575" cy="6858000"/>
            <a:chOff x="-287" y="0"/>
            <a:chExt cx="12189399" cy="6858000"/>
          </a:xfrm>
        </p:grpSpPr>
        <p:sp>
          <p:nvSpPr>
            <p:cNvPr id="9" name="Rectangle 8"/>
            <p:cNvSpPr/>
            <p:nvPr/>
          </p:nvSpPr>
          <p:spPr bwMode="gray">
            <a:xfrm>
              <a:off x="-287" y="0"/>
              <a:ext cx="193962" cy="685214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429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1995151" y="5854"/>
              <a:ext cx="193960" cy="685214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429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-286" y="6400800"/>
              <a:ext cx="12189396" cy="4572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429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-286" y="0"/>
              <a:ext cx="12189398" cy="19202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429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3" name="Oracle red badge logo" descr="Oracle logo in white on red staging background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31955" y="6263641"/>
            <a:ext cx="1623284" cy="594360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564404" y="6556248"/>
            <a:ext cx="1226717" cy="18288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35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1EE11BFD-AD4C-4A98-9D38-1958507EA4E5}" type="datetime1">
              <a:rPr lang="en-US">
                <a:solidFill>
                  <a:srgbClr val="5F5F5F">
                    <a:lumMod val="60000"/>
                    <a:lumOff val="40000"/>
                  </a:srgbClr>
                </a:solidFill>
              </a:rPr>
              <a:pPr/>
              <a:t>11/8/2020</a:t>
            </a:fld>
            <a:endParaRPr dirty="0">
              <a:solidFill>
                <a:srgbClr val="5F5F5F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 bwMode="gray">
          <a:xfrm>
            <a:off x="5991202" y="6556248"/>
            <a:ext cx="2788377" cy="18288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sz="635" dirty="0">
                <a:solidFill>
                  <a:srgbClr val="5F5F5F">
                    <a:lumMod val="60000"/>
                    <a:lumOff val="40000"/>
                  </a:srgbClr>
                </a:solidFill>
              </a:rPr>
              <a:t>Copyright © 201</a:t>
            </a:r>
            <a:r>
              <a:rPr lang="en-US" sz="635" dirty="0">
                <a:solidFill>
                  <a:srgbClr val="5F5F5F">
                    <a:lumMod val="60000"/>
                    <a:lumOff val="40000"/>
                  </a:srgbClr>
                </a:solidFill>
              </a:rPr>
              <a:t>6</a:t>
            </a:r>
            <a:r>
              <a:rPr sz="635" dirty="0">
                <a:solidFill>
                  <a:srgbClr val="5F5F5F">
                    <a:lumMod val="60000"/>
                    <a:lumOff val="40000"/>
                  </a:srgbClr>
                </a:solidFill>
              </a:rPr>
              <a:t> Oracle and/or its affiliates. All rights reserved.  |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8779576" y="6556248"/>
            <a:ext cx="2499373" cy="18288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35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dirty="0">
                <a:solidFill>
                  <a:srgbClr val="5F5F5F">
                    <a:lumMod val="60000"/>
                    <a:lumOff val="40000"/>
                  </a:srgbClr>
                </a:solidFill>
              </a:rPr>
              <a:t>Oracle Confidential – Internal/Restricted/Highly Restricted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278951" y="6556248"/>
            <a:ext cx="381760" cy="18288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35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C51EAA63-D034-42AE-91FA-B13B9518C7BE}" type="slidenum">
              <a:rPr>
                <a:solidFill>
                  <a:srgbClr val="5F5F5F">
                    <a:lumMod val="60000"/>
                    <a:lumOff val="40000"/>
                  </a:srgbClr>
                </a:solidFill>
              </a:rPr>
              <a:pPr/>
              <a:t>‹#›</a:t>
            </a:fld>
            <a:endParaRPr dirty="0">
              <a:solidFill>
                <a:srgbClr val="5F5F5F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66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5655E-8B5F-1549-998E-73D98A1A32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845507-5857-2B4E-A91A-737C8E4486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59F1B9-BA2E-F34A-ABF6-4A54F87D1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DE0533-C722-9E44-A6E5-45797DA41C4B}" type="datetimeFigureOut">
              <a:rPr lang="en-AE" smtClean="0"/>
              <a:t>11/08/2020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9725C0-90C6-0445-85D5-17E07B5CAE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576BAB-5247-B44C-A0C4-F4A74524E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512B0-B2EC-294F-A299-F84491464B50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7676790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50FA08-F0FB-0946-B1E7-08B6C94A1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9D9D7E-9DE3-BF4D-9D72-6BE559830A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8F9676-F923-5C4F-8F41-ED0648D84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DE0533-C722-9E44-A6E5-45797DA41C4B}" type="datetimeFigureOut">
              <a:rPr lang="en-AE" smtClean="0"/>
              <a:t>11/08/2020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CD5104-3BBD-414F-A857-37DC44AB4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663D6-3BFF-A34A-B270-F33E9F5B59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512B0-B2EC-294F-A299-F84491464B50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905374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Page_Blue/Gre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C8C9B4F-0C73-1E4F-902F-279B6D0794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9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-9521" y="1"/>
            <a:ext cx="8275685" cy="6857999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1278949" y="6556248"/>
            <a:ext cx="381760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r">
              <a:defRPr sz="850">
                <a:solidFill>
                  <a:srgbClr val="58595B"/>
                </a:solidFill>
              </a:defRPr>
            </a:lvl1pPr>
          </a:lstStyle>
          <a:p>
            <a:fld id="{C51EAA63-D034-42AE-91FA-B13B9518C7B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31951" y="548640"/>
            <a:ext cx="4341796" cy="889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531951" y="1619926"/>
            <a:ext cx="4366226" cy="336727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2400" b="1" kern="3000" spc="-100" baseline="0" dirty="0" smtClean="0">
                <a:solidFill>
                  <a:srgbClr val="FFFFFF"/>
                </a:solidFill>
                <a:latin typeface="Calibri"/>
                <a:ea typeface="+mj-ea"/>
                <a:cs typeface="Calibri"/>
              </a:defRPr>
            </a:lvl1pPr>
          </a:lstStyle>
          <a:p>
            <a:pPr lvl="0">
              <a:lnSpc>
                <a:spcPct val="80000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06AF51B-3909-2240-A3B4-A3E714163F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1953" y="2306517"/>
            <a:ext cx="4341794" cy="3752128"/>
          </a:xfrm>
        </p:spPr>
        <p:txBody>
          <a:bodyPr/>
          <a:lstStyle>
            <a:lvl1pPr>
              <a:defRPr sz="1800">
                <a:solidFill>
                  <a:srgbClr val="4E5052"/>
                </a:solidFill>
              </a:defRPr>
            </a:lvl1pPr>
            <a:lvl2pPr>
              <a:defRPr sz="1800">
                <a:solidFill>
                  <a:srgbClr val="4E5052"/>
                </a:solidFill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2400" baseline="0">
                <a:solidFill>
                  <a:srgbClr val="FFFFFF"/>
                </a:solidFill>
                <a:latin typeface="Calibri"/>
                <a:cs typeface="Calibri"/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2400">
                <a:solidFill>
                  <a:srgbClr val="FFFFFF"/>
                </a:solidFill>
                <a:latin typeface="Calibri"/>
                <a:cs typeface="Calibri"/>
              </a:defRPr>
            </a:lvl4pPr>
            <a:lvl5pPr>
              <a:defRPr sz="2400">
                <a:solidFill>
                  <a:srgbClr val="FFFFFF"/>
                </a:solidFill>
              </a:defRPr>
            </a:lvl5pPr>
          </a:lstStyle>
          <a:p>
            <a:pPr lvl="2"/>
            <a:r>
              <a:rPr lang="en-US" dirty="0"/>
              <a:t>First level</a:t>
            </a:r>
          </a:p>
          <a:p>
            <a:pPr lvl="3"/>
            <a:r>
              <a:rPr lang="en-US" dirty="0"/>
              <a:t> Second level</a:t>
            </a:r>
          </a:p>
          <a:p>
            <a:pPr lvl="3"/>
            <a:endParaRPr lang="en-US" dirty="0"/>
          </a:p>
          <a:p>
            <a:pPr lvl="3"/>
            <a:endParaRPr lang="en-US" dirty="0"/>
          </a:p>
        </p:txBody>
      </p:sp>
      <p:pic>
        <p:nvPicPr>
          <p:cNvPr id="11" name="Picture 10" descr="Oracle logo in white on red staging background" title="Oracle red badge logo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490" y="6263640"/>
            <a:ext cx="1625561" cy="594360"/>
          </a:xfrm>
          <a:prstGeom prst="rect">
            <a:avLst/>
          </a:prstGeom>
        </p:spPr>
      </p:pic>
      <p:sp>
        <p:nvSpPr>
          <p:cNvPr id="15" name="Footer Placeholder 23">
            <a:extLst>
              <a:ext uri="{FF2B5EF4-FFF2-40B4-BE49-F238E27FC236}">
                <a16:creationId xmlns:a16="http://schemas.microsoft.com/office/drawing/2014/main" id="{51BE4057-29C9-7E43-B738-A15271D2F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006201" y="6556248"/>
            <a:ext cx="8235222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50">
                <a:solidFill>
                  <a:srgbClr val="4E5052"/>
                </a:solidFill>
                <a:latin typeface="Calibri"/>
                <a:cs typeface="Calibri"/>
              </a:defRPr>
            </a:lvl1pPr>
          </a:lstStyle>
          <a:p>
            <a:r>
              <a:rPr lang="en-US" dirty="0"/>
              <a:t>Copyright © 2019, Oracle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27156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09800" y="4464028"/>
            <a:ext cx="9144000" cy="1641490"/>
          </a:xfrm>
        </p:spPr>
        <p:txBody>
          <a:bodyPr wrap="none" anchor="t">
            <a:normAutofit/>
          </a:bodyPr>
          <a:lstStyle>
            <a:lvl1pPr algn="r">
              <a:defRPr sz="9600" b="0" spc="-30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09799" y="3694375"/>
            <a:ext cx="9144000" cy="754025"/>
          </a:xfrm>
        </p:spPr>
        <p:txBody>
          <a:bodyPr anchor="b">
            <a:normAutofit/>
          </a:bodyPr>
          <a:lstStyle>
            <a:lvl1pPr marL="0" indent="0" algn="r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F20CD-7279-4764-9824-EA9E8EB39E7E}" type="datetime1">
              <a:rPr lang="en-US" smtClean="0"/>
              <a:t>11/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BB6A90-711D-40D8-820C-C9AA134C85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7393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DA25F2-5341-45BE-8915-21F681FEC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DA25F2-5341-45BE-8915-21F681FEC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920">
            <a:extLst>
              <a:ext uri="{FF2B5EF4-FFF2-40B4-BE49-F238E27FC236}">
                <a16:creationId xmlns:a16="http://schemas.microsoft.com/office/drawing/2014/main" id="{88A59529-2F45-4A47-901B-EFDCAF03A968}"/>
              </a:ext>
            </a:extLst>
          </p:cNvPr>
          <p:cNvSpPr txBox="1">
            <a:spLocks/>
          </p:cNvSpPr>
          <p:nvPr userDrawn="1"/>
        </p:nvSpPr>
        <p:spPr>
          <a:xfrm>
            <a:off x="10821630" y="6454108"/>
            <a:ext cx="507448" cy="307815"/>
          </a:xfrm>
          <a:prstGeom prst="rect">
            <a:avLst/>
          </a:prstGeom>
        </p:spPr>
        <p:txBody>
          <a:bodyPr/>
          <a:lstStyle>
            <a:defPPr marL="0" marR="0" indent="0" algn="l" defTabSz="985083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850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492542" algn="l" defTabSz="9850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985083" algn="l" defTabSz="9850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1477625" algn="l" defTabSz="9850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970166" algn="l" defTabSz="9850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2462708" algn="l" defTabSz="9850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2955249" algn="l" defTabSz="9850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3447791" algn="l" defTabSz="9850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3940332" algn="l" defTabSz="9850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fld id="{86CB4B4D-7CA3-9044-876B-883B54F8677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398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5" r:id="rId2"/>
  </p:sldLayoutIdLst>
  <p:hf hdr="0" ftr="0" dt="0"/>
  <p:txStyles>
    <p:titleStyle>
      <a:lvl1pPr algn="ctr" defTabSz="1313412" rtl="0" eaLnBrk="1" latinLnBrk="0" hangingPunct="1">
        <a:spcBef>
          <a:spcPct val="0"/>
        </a:spcBef>
        <a:buNone/>
        <a:defRPr sz="6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2530" indent="-492530" algn="l" defTabSz="1313412" rtl="0" eaLnBrk="1" latinLnBrk="0" hangingPunct="1">
        <a:spcBef>
          <a:spcPct val="20000"/>
        </a:spcBef>
        <a:buFont typeface="Arial" pitchFamily="34" charset="0"/>
        <a:buChar char="•"/>
        <a:defRPr sz="4600" kern="1200">
          <a:solidFill>
            <a:schemeClr val="tx1"/>
          </a:solidFill>
          <a:latin typeface="+mn-lt"/>
          <a:ea typeface="+mn-ea"/>
          <a:cs typeface="+mn-cs"/>
        </a:defRPr>
      </a:lvl1pPr>
      <a:lvl2pPr marL="1067146" indent="-410441" algn="l" defTabSz="1313412" rtl="0" eaLnBrk="1" latinLnBrk="0" hangingPunct="1">
        <a:spcBef>
          <a:spcPct val="20000"/>
        </a:spcBef>
        <a:buFont typeface="Arial" pitchFamily="34" charset="0"/>
        <a:buChar char="–"/>
        <a:defRPr sz="4000" kern="1200">
          <a:solidFill>
            <a:schemeClr val="tx1"/>
          </a:solidFill>
          <a:latin typeface="+mn-lt"/>
          <a:ea typeface="+mn-ea"/>
          <a:cs typeface="+mn-cs"/>
        </a:defRPr>
      </a:lvl2pPr>
      <a:lvl3pPr marL="1641764" indent="-328352" algn="l" defTabSz="1313412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98470" indent="-328352" algn="l" defTabSz="1313412" rtl="0" eaLnBrk="1" latinLnBrk="0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55175" indent="-328352" algn="l" defTabSz="1313412" rtl="0" eaLnBrk="1" latinLnBrk="0" hangingPunct="1">
        <a:spcBef>
          <a:spcPct val="20000"/>
        </a:spcBef>
        <a:buFont typeface="Arial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11881" indent="-328352" algn="l" defTabSz="1313412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68587" indent="-328352" algn="l" defTabSz="1313412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25293" indent="-328352" algn="l" defTabSz="1313412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581998" indent="-328352" algn="l" defTabSz="1313412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134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6706" algn="l" defTabSz="13134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13412" algn="l" defTabSz="13134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70117" algn="l" defTabSz="13134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26823" algn="l" defTabSz="13134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83529" algn="l" defTabSz="13134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40234" algn="l" defTabSz="13134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96939" algn="l" defTabSz="13134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53645" algn="l" defTabSz="13134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31952" y="548641"/>
            <a:ext cx="11128097" cy="889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31291" y="1641490"/>
            <a:ext cx="11129420" cy="4393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278950" y="6556248"/>
            <a:ext cx="381760" cy="18288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r">
              <a:defRPr sz="675">
                <a:solidFill>
                  <a:srgbClr val="4E5052"/>
                </a:solidFill>
                <a:latin typeface="Calibri"/>
                <a:cs typeface="Calibri"/>
              </a:defRPr>
            </a:lvl1pPr>
          </a:lstStyle>
          <a:p>
            <a:fld id="{C51EAA63-D034-42AE-91FA-B13B9518C7B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7E9C9A27-F0D9-AF4D-8B81-A4C804C837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006201" y="6556248"/>
            <a:ext cx="8235222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rgbClr val="4E5052"/>
                </a:solidFill>
                <a:latin typeface="Calibri"/>
                <a:cs typeface="Calibri"/>
              </a:defRPr>
            </a:lvl1pPr>
          </a:lstStyle>
          <a:p>
            <a:r>
              <a:rPr lang="en-US"/>
              <a:t>Copyright © 2019, Oracle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76248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70" r:id="rId3"/>
    <p:sldLayoutId id="2147483671" r:id="rId4"/>
    <p:sldLayoutId id="2147483672" r:id="rId5"/>
    <p:sldLayoutId id="2147483673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725758" rtl="0" eaLnBrk="1" latinLnBrk="0" hangingPunct="1">
        <a:lnSpc>
          <a:spcPct val="80000"/>
        </a:lnSpc>
        <a:spcBef>
          <a:spcPct val="0"/>
        </a:spcBef>
        <a:buNone/>
        <a:defRPr sz="2857" b="0" i="0" kern="3000" spc="0" baseline="0">
          <a:solidFill>
            <a:srgbClr val="4E5052"/>
          </a:solidFill>
          <a:latin typeface="+mj-lt"/>
          <a:ea typeface="+mj-ea"/>
          <a:cs typeface="+mj-cs"/>
        </a:defRPr>
      </a:lvl1pPr>
    </p:titleStyle>
    <p:bodyStyle>
      <a:lvl1pPr marL="0" indent="0" algn="l" defTabSz="725758" rtl="0" eaLnBrk="1" latinLnBrk="0" hangingPunct="1">
        <a:lnSpc>
          <a:spcPct val="90000"/>
        </a:lnSpc>
        <a:spcBef>
          <a:spcPts val="952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None/>
        <a:defRPr sz="1905" b="1" i="0" kern="1200">
          <a:solidFill>
            <a:srgbClr val="4E5052"/>
          </a:solidFill>
          <a:latin typeface="+mn-lt"/>
          <a:ea typeface="+mn-ea"/>
          <a:cs typeface="+mn-cs"/>
        </a:defRPr>
      </a:lvl1pPr>
      <a:lvl2pPr marL="0" indent="0" algn="l" defTabSz="725758" rtl="0" eaLnBrk="1" latinLnBrk="0" hangingPunct="1">
        <a:lnSpc>
          <a:spcPct val="90000"/>
        </a:lnSpc>
        <a:spcBef>
          <a:spcPts val="952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None/>
        <a:defRPr sz="1905" b="0" i="0" kern="1200">
          <a:solidFill>
            <a:srgbClr val="4E5052"/>
          </a:solidFill>
          <a:latin typeface="+mn-lt"/>
          <a:ea typeface="+mn-ea"/>
          <a:cs typeface="+mn-cs"/>
        </a:defRPr>
      </a:lvl2pPr>
      <a:lvl3pPr marL="0" indent="-145151" algn="l" defTabSz="725758" rtl="0" eaLnBrk="1" latinLnBrk="0" hangingPunct="1">
        <a:lnSpc>
          <a:spcPct val="90000"/>
        </a:lnSpc>
        <a:spcBef>
          <a:spcPts val="952"/>
        </a:spcBef>
        <a:buClr>
          <a:srgbClr val="4E5052"/>
        </a:buClr>
        <a:buSzPct val="110000"/>
        <a:buFont typeface="Arial" panose="020B0604020202020204" pitchFamily="34" charset="0"/>
        <a:buChar char="•"/>
        <a:defRPr sz="1905" b="0" i="0" kern="1200">
          <a:solidFill>
            <a:srgbClr val="4E5052"/>
          </a:solidFill>
          <a:latin typeface="+mn-lt"/>
          <a:ea typeface="+mn-ea"/>
          <a:cs typeface="+mn-cs"/>
        </a:defRPr>
      </a:lvl3pPr>
      <a:lvl4pPr marL="326591" indent="-145151" algn="l" defTabSz="725758" rtl="0" eaLnBrk="1" latinLnBrk="0" hangingPunct="1">
        <a:lnSpc>
          <a:spcPct val="90000"/>
        </a:lnSpc>
        <a:spcBef>
          <a:spcPts val="952"/>
        </a:spcBef>
        <a:buClr>
          <a:srgbClr val="4E5052"/>
        </a:buClr>
        <a:buFont typeface="Arial" panose="020B0604020202020204" pitchFamily="34" charset="0"/>
        <a:buChar char="–"/>
        <a:defRPr sz="1905" b="0" i="0" kern="1200">
          <a:solidFill>
            <a:srgbClr val="4E5052"/>
          </a:solidFill>
          <a:latin typeface="+mn-lt"/>
          <a:ea typeface="+mn-ea"/>
          <a:cs typeface="+mn-cs"/>
        </a:defRPr>
      </a:lvl4pPr>
      <a:lvl5pPr marL="471743" indent="-145151" algn="l" defTabSz="725758" rtl="0" eaLnBrk="1" latinLnBrk="0" hangingPunct="1">
        <a:lnSpc>
          <a:spcPct val="90000"/>
        </a:lnSpc>
        <a:spcBef>
          <a:spcPts val="952"/>
        </a:spcBef>
        <a:buClr>
          <a:srgbClr val="4E5052"/>
        </a:buClr>
        <a:buFont typeface="Arial" panose="020B0604020202020204" pitchFamily="34" charset="0"/>
        <a:buChar char="•"/>
        <a:defRPr sz="1905" b="0" i="0" kern="1200">
          <a:solidFill>
            <a:srgbClr val="4E5052"/>
          </a:solidFill>
          <a:latin typeface="+mn-lt"/>
          <a:ea typeface="+mn-ea"/>
          <a:cs typeface="+mn-cs"/>
        </a:defRPr>
      </a:lvl5pPr>
      <a:lvl6pPr marL="1124925" indent="-145151" algn="l" defTabSz="725758" rtl="0" eaLnBrk="1" latinLnBrk="0" hangingPunct="1">
        <a:lnSpc>
          <a:spcPct val="90000"/>
        </a:lnSpc>
        <a:spcBef>
          <a:spcPts val="476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–"/>
        <a:defRPr sz="1270" kern="1200">
          <a:solidFill>
            <a:schemeClr val="tx1"/>
          </a:solidFill>
          <a:latin typeface="+mn-lt"/>
          <a:ea typeface="+mn-ea"/>
          <a:cs typeface="+mn-cs"/>
        </a:defRPr>
      </a:lvl6pPr>
      <a:lvl7pPr marL="1306364" indent="-145151" algn="l" defTabSz="725758" rtl="0" eaLnBrk="1" latinLnBrk="0" hangingPunct="1">
        <a:lnSpc>
          <a:spcPct val="90000"/>
        </a:lnSpc>
        <a:spcBef>
          <a:spcPts val="476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270" kern="1200">
          <a:solidFill>
            <a:schemeClr val="tx1"/>
          </a:solidFill>
          <a:latin typeface="+mn-lt"/>
          <a:ea typeface="+mn-ea"/>
          <a:cs typeface="+mn-cs"/>
        </a:defRPr>
      </a:lvl7pPr>
      <a:lvl8pPr marL="1487804" indent="-145151" algn="l" defTabSz="725758" rtl="0" eaLnBrk="1" latinLnBrk="0" hangingPunct="1">
        <a:lnSpc>
          <a:spcPct val="90000"/>
        </a:lnSpc>
        <a:spcBef>
          <a:spcPts val="476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–"/>
        <a:defRPr sz="1270" kern="1200">
          <a:solidFill>
            <a:schemeClr val="tx1"/>
          </a:solidFill>
          <a:latin typeface="+mn-lt"/>
          <a:ea typeface="+mn-ea"/>
          <a:cs typeface="+mn-cs"/>
        </a:defRPr>
      </a:lvl8pPr>
      <a:lvl9pPr marL="1669243" indent="-145151" algn="l" defTabSz="725758" rtl="0" eaLnBrk="1" latinLnBrk="0" hangingPunct="1">
        <a:lnSpc>
          <a:spcPct val="90000"/>
        </a:lnSpc>
        <a:spcBef>
          <a:spcPts val="476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2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725758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1pPr>
      <a:lvl2pPr marL="362879" algn="l" defTabSz="725758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2pPr>
      <a:lvl3pPr marL="725758" algn="l" defTabSz="725758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3pPr>
      <a:lvl4pPr marL="1088637" algn="l" defTabSz="725758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4pPr>
      <a:lvl5pPr marL="1451516" algn="l" defTabSz="725758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5pPr>
      <a:lvl6pPr marL="1814395" algn="l" defTabSz="725758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6pPr>
      <a:lvl7pPr marL="2177273" algn="l" defTabSz="725758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7pPr>
      <a:lvl8pPr marL="2540153" algn="l" defTabSz="725758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8pPr>
      <a:lvl9pPr marL="2903032" algn="l" defTabSz="725758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pos="3839">
          <p15:clr>
            <a:srgbClr val="F26B43"/>
          </p15:clr>
        </p15:guide>
        <p15:guide id="4" orient="horz" pos="960">
          <p15:clr>
            <a:srgbClr val="F26B43"/>
          </p15:clr>
        </p15:guide>
        <p15:guide id="5" orient="horz" pos="816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10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000" y="1825625"/>
            <a:ext cx="10233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AB8EB296-FAC0-4DEA-BB68-12FFC9A04AEE}" type="datetime1">
              <a:rPr lang="en-US" smtClean="0"/>
              <a:t>11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DD35DBF2-A8CF-448E-B167-C826703D0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8491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0" kern="1200">
          <a:gradFill flip="none" rotWithShape="1">
            <a:gsLst>
              <a:gs pos="28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  <a:tileRect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image" Target="../media/image13.jpg"/><Relationship Id="rId7" Type="http://schemas.openxmlformats.org/officeDocument/2006/relationships/image" Target="../media/image17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jpg"/><Relationship Id="rId11" Type="http://schemas.openxmlformats.org/officeDocument/2006/relationships/image" Target="../media/image21.jpeg"/><Relationship Id="rId5" Type="http://schemas.openxmlformats.org/officeDocument/2006/relationships/image" Target="../media/image15.jpg"/><Relationship Id="rId10" Type="http://schemas.openxmlformats.org/officeDocument/2006/relationships/image" Target="../media/image20.jpg"/><Relationship Id="rId4" Type="http://schemas.openxmlformats.org/officeDocument/2006/relationships/image" Target="../media/image14.jpg"/><Relationship Id="rId9" Type="http://schemas.openxmlformats.org/officeDocument/2006/relationships/image" Target="../media/image19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6.jpg"/><Relationship Id="rId4" Type="http://schemas.openxmlformats.org/officeDocument/2006/relationships/image" Target="../media/image25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Facial Recognition Technology: Leveraging Vision-Based AI to Improve  Business | Artelliq">
            <a:extLst>
              <a:ext uri="{FF2B5EF4-FFF2-40B4-BE49-F238E27FC236}">
                <a16:creationId xmlns:a16="http://schemas.microsoft.com/office/drawing/2014/main" id="{5B69BAAA-DD9B-4BFE-A294-673A6683F6E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9078569" cy="5308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5374247-82D2-47E7-B923-D063A9593939}"/>
              </a:ext>
            </a:extLst>
          </p:cNvPr>
          <p:cNvSpPr/>
          <p:nvPr/>
        </p:nvSpPr>
        <p:spPr>
          <a:xfrm>
            <a:off x="9078568" y="4130889"/>
            <a:ext cx="3113432" cy="2812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algn="just">
              <a:spcBef>
                <a:spcPts val="1800"/>
              </a:spcBef>
              <a:spcAft>
                <a:spcPts val="0"/>
              </a:spcAft>
              <a:tabLst>
                <a:tab pos="457200" algn="l"/>
                <a:tab pos="5480050" algn="r"/>
              </a:tabLst>
            </a:pPr>
            <a:r>
              <a:rPr lang="en-US" b="1" u="sng" dirty="0"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bmitted by:</a:t>
            </a:r>
          </a:p>
          <a:p>
            <a:pPr marL="0" marR="0" algn="just">
              <a:spcBef>
                <a:spcPts val="1800"/>
              </a:spcBef>
              <a:spcAft>
                <a:spcPts val="0"/>
              </a:spcAft>
              <a:tabLst>
                <a:tab pos="457200" algn="l"/>
                <a:tab pos="5480050" algn="r"/>
              </a:tabLst>
            </a:pPr>
            <a:r>
              <a:rPr lang="en-US" b="1" dirty="0"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hamed Idris Maricar</a:t>
            </a:r>
          </a:p>
          <a:p>
            <a:pPr algn="just">
              <a:spcBef>
                <a:spcPts val="1800"/>
              </a:spcBef>
              <a:tabLst>
                <a:tab pos="457200" algn="l"/>
                <a:tab pos="5480050" algn="r"/>
              </a:tabLst>
            </a:pPr>
            <a:r>
              <a:rPr lang="en-US" sz="1800" b="1" dirty="0"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0114011</a:t>
            </a:r>
            <a:endParaRPr lang="en-US" b="1" dirty="0">
              <a:solidFill>
                <a:schemeClr val="tx1"/>
              </a:solidFill>
              <a:effectLst/>
              <a:latin typeface="Century Gothic" panose="020B0502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spcBef>
                <a:spcPts val="1800"/>
              </a:spcBef>
              <a:spcAft>
                <a:spcPts val="0"/>
              </a:spcAft>
              <a:tabLst>
                <a:tab pos="457200" algn="l"/>
                <a:tab pos="5480050" algn="r"/>
              </a:tabLst>
            </a:pPr>
            <a:r>
              <a:rPr lang="en-US" b="1" dirty="0">
                <a:solidFill>
                  <a:schemeClr val="tx1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ussain Baqir Challawala</a:t>
            </a:r>
          </a:p>
          <a:p>
            <a:pPr marL="0" marR="0" algn="just">
              <a:spcBef>
                <a:spcPts val="1800"/>
              </a:spcBef>
              <a:spcAft>
                <a:spcPts val="0"/>
              </a:spcAft>
              <a:tabLst>
                <a:tab pos="457200" algn="l"/>
                <a:tab pos="5480050" algn="r"/>
              </a:tabLst>
            </a:pPr>
            <a:r>
              <a:rPr lang="en-US" sz="1800" b="1" dirty="0"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0114013</a:t>
            </a:r>
            <a:endParaRPr lang="en-US" b="1" dirty="0">
              <a:solidFill>
                <a:schemeClr val="tx1"/>
              </a:solidFill>
              <a:latin typeface="Century Gothic" panose="020B0502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43E3B15A-B184-45D6-9C8A-B84416CCEDB0}"/>
              </a:ext>
            </a:extLst>
          </p:cNvPr>
          <p:cNvSpPr/>
          <p:nvPr/>
        </p:nvSpPr>
        <p:spPr>
          <a:xfrm>
            <a:off x="0" y="5308846"/>
            <a:ext cx="9078568" cy="1549154"/>
          </a:xfrm>
          <a:prstGeom prst="round2Same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Facial Recognition: IDENTIFY PREMIUM CUSTOMER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FE26E9-A382-4DEA-85FF-BD9FD9A443AB}"/>
              </a:ext>
            </a:extLst>
          </p:cNvPr>
          <p:cNvSpPr/>
          <p:nvPr/>
        </p:nvSpPr>
        <p:spPr>
          <a:xfrm>
            <a:off x="9221541" y="1577796"/>
            <a:ext cx="3113432" cy="2812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algn="just">
              <a:spcBef>
                <a:spcPts val="1800"/>
              </a:spcBef>
              <a:spcAft>
                <a:spcPts val="0"/>
              </a:spcAft>
              <a:tabLst>
                <a:tab pos="457200" algn="l"/>
                <a:tab pos="5480050" algn="r"/>
              </a:tabLst>
            </a:pPr>
            <a:r>
              <a:rPr lang="en-US" b="1" u="sng" dirty="0">
                <a:solidFill>
                  <a:schemeClr val="tx1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uided</a:t>
            </a:r>
            <a:r>
              <a:rPr lang="en-US" b="1" u="sng" dirty="0"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y:</a:t>
            </a:r>
          </a:p>
          <a:p>
            <a:pPr marL="0" marR="0" algn="just">
              <a:spcBef>
                <a:spcPts val="1800"/>
              </a:spcBef>
              <a:spcAft>
                <a:spcPts val="0"/>
              </a:spcAft>
              <a:tabLst>
                <a:tab pos="457200" algn="l"/>
                <a:tab pos="5480050" algn="r"/>
              </a:tabLst>
            </a:pPr>
            <a:r>
              <a:rPr lang="en-US" b="1" dirty="0"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. T. K. Senthil Kumar</a:t>
            </a:r>
            <a:endParaRPr lang="en-US" b="1" dirty="0">
              <a:solidFill>
                <a:schemeClr val="tx1"/>
              </a:solidFill>
              <a:latin typeface="Century Gothic" panose="020B0502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6606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109129A-12CE-4A21-BF77-B42D2B802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467E66D-F324-4CB0-A41B-767FD4B949A9}"/>
              </a:ext>
            </a:extLst>
          </p:cNvPr>
          <p:cNvSpPr txBox="1">
            <a:spLocks/>
          </p:cNvSpPr>
          <p:nvPr/>
        </p:nvSpPr>
        <p:spPr>
          <a:xfrm>
            <a:off x="1143291" y="547278"/>
            <a:ext cx="9982199" cy="12334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cap="all" spc="7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MIUM CUSTOMER DETEC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156470E-C341-4149-9C2F-B895481B10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500" t="19852" r="2166" b="25926"/>
          <a:stretch/>
        </p:blipFill>
        <p:spPr>
          <a:xfrm>
            <a:off x="1582710" y="1335251"/>
            <a:ext cx="9062720" cy="37185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27D54C-7964-4579-8B8E-328DE54F2A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728" t="78511" r="19439" b="18512"/>
          <a:stretch/>
        </p:blipFill>
        <p:spPr>
          <a:xfrm>
            <a:off x="772739" y="5197791"/>
            <a:ext cx="10479461" cy="84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341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0F0B48B-4C55-479A-9E38-298A24018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11</a:t>
            </a:fld>
            <a:endParaRPr lang="en-US" dirty="0"/>
          </a:p>
        </p:txBody>
      </p:sp>
      <p:sp>
        <p:nvSpPr>
          <p:cNvPr id="4" name="Rounded Rectangle 27">
            <a:extLst>
              <a:ext uri="{FF2B5EF4-FFF2-40B4-BE49-F238E27FC236}">
                <a16:creationId xmlns:a16="http://schemas.microsoft.com/office/drawing/2014/main" id="{94907E18-4B58-436A-8625-52BF50FB27B4}"/>
              </a:ext>
            </a:extLst>
          </p:cNvPr>
          <p:cNvSpPr/>
          <p:nvPr/>
        </p:nvSpPr>
        <p:spPr>
          <a:xfrm>
            <a:off x="3694759" y="3015436"/>
            <a:ext cx="4144720" cy="110969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OUTCOME</a:t>
            </a:r>
          </a:p>
        </p:txBody>
      </p:sp>
    </p:spTree>
    <p:extLst>
      <p:ext uri="{BB962C8B-B14F-4D97-AF65-F5344CB8AC3E}">
        <p14:creationId xmlns:p14="http://schemas.microsoft.com/office/powerpoint/2010/main" val="32866207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888872-28AB-4145-A225-E672D1938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12</a:t>
            </a:fld>
            <a:endParaRPr lang="en-US" dirty="0"/>
          </a:p>
        </p:txBody>
      </p:sp>
      <p:sp>
        <p:nvSpPr>
          <p:cNvPr id="4" name="Rounded Rectangle 27">
            <a:extLst>
              <a:ext uri="{FF2B5EF4-FFF2-40B4-BE49-F238E27FC236}">
                <a16:creationId xmlns:a16="http://schemas.microsoft.com/office/drawing/2014/main" id="{C8F0EDD7-68A4-4D05-9A2A-3CE125C43ACE}"/>
              </a:ext>
            </a:extLst>
          </p:cNvPr>
          <p:cNvSpPr/>
          <p:nvPr/>
        </p:nvSpPr>
        <p:spPr>
          <a:xfrm>
            <a:off x="3694759" y="3015436"/>
            <a:ext cx="4144720" cy="110969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RESULT</a:t>
            </a:r>
          </a:p>
        </p:txBody>
      </p:sp>
    </p:spTree>
    <p:extLst>
      <p:ext uri="{BB962C8B-B14F-4D97-AF65-F5344CB8AC3E}">
        <p14:creationId xmlns:p14="http://schemas.microsoft.com/office/powerpoint/2010/main" val="16826417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888872-28AB-4145-A225-E672D1938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13</a:t>
            </a:fld>
            <a:endParaRPr lang="en-US" dirty="0"/>
          </a:p>
        </p:txBody>
      </p:sp>
      <p:sp>
        <p:nvSpPr>
          <p:cNvPr id="4" name="Rounded Rectangle 27">
            <a:extLst>
              <a:ext uri="{FF2B5EF4-FFF2-40B4-BE49-F238E27FC236}">
                <a16:creationId xmlns:a16="http://schemas.microsoft.com/office/drawing/2014/main" id="{C8F0EDD7-68A4-4D05-9A2A-3CE125C43ACE}"/>
              </a:ext>
            </a:extLst>
          </p:cNvPr>
          <p:cNvSpPr/>
          <p:nvPr/>
        </p:nvSpPr>
        <p:spPr>
          <a:xfrm>
            <a:off x="3770172" y="3024864"/>
            <a:ext cx="4144720" cy="110969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8231034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7">
            <a:extLst>
              <a:ext uri="{FF2B5EF4-FFF2-40B4-BE49-F238E27FC236}">
                <a16:creationId xmlns:a16="http://schemas.microsoft.com/office/drawing/2014/main" id="{2CEE1B2C-474B-412F-A71C-A51CDB7BDBE9}"/>
              </a:ext>
            </a:extLst>
          </p:cNvPr>
          <p:cNvSpPr/>
          <p:nvPr/>
        </p:nvSpPr>
        <p:spPr>
          <a:xfrm>
            <a:off x="3694758" y="3025061"/>
            <a:ext cx="3486957" cy="110969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THANK YOU</a:t>
            </a:r>
          </a:p>
        </p:txBody>
      </p:sp>
      <p:sp>
        <p:nvSpPr>
          <p:cNvPr id="4" name="Rounded Rectangle 27">
            <a:extLst>
              <a:ext uri="{FF2B5EF4-FFF2-40B4-BE49-F238E27FC236}">
                <a16:creationId xmlns:a16="http://schemas.microsoft.com/office/drawing/2014/main" id="{744BC902-1ACB-4F44-BBB1-583EBE92BEC4}"/>
              </a:ext>
            </a:extLst>
          </p:cNvPr>
          <p:cNvSpPr/>
          <p:nvPr/>
        </p:nvSpPr>
        <p:spPr>
          <a:xfrm>
            <a:off x="3694759" y="3015436"/>
            <a:ext cx="4144720" cy="110969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8525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27">
            <a:extLst>
              <a:ext uri="{FF2B5EF4-FFF2-40B4-BE49-F238E27FC236}">
                <a16:creationId xmlns:a16="http://schemas.microsoft.com/office/drawing/2014/main" id="{618D667A-F5A7-49E4-AB69-4AEE58D4D5A7}"/>
              </a:ext>
            </a:extLst>
          </p:cNvPr>
          <p:cNvSpPr/>
          <p:nvPr/>
        </p:nvSpPr>
        <p:spPr>
          <a:xfrm>
            <a:off x="7693535" y="3769319"/>
            <a:ext cx="3486957" cy="110969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METHODOLOGY &amp; TECHNOLOGY</a:t>
            </a:r>
          </a:p>
        </p:txBody>
      </p:sp>
      <p:sp>
        <p:nvSpPr>
          <p:cNvPr id="48" name="Rounded Rectangle 27">
            <a:extLst>
              <a:ext uri="{FF2B5EF4-FFF2-40B4-BE49-F238E27FC236}">
                <a16:creationId xmlns:a16="http://schemas.microsoft.com/office/drawing/2014/main" id="{7DBFB1DF-A72A-42F6-9D1B-BAFC87526FE4}"/>
              </a:ext>
            </a:extLst>
          </p:cNvPr>
          <p:cNvSpPr/>
          <p:nvPr/>
        </p:nvSpPr>
        <p:spPr>
          <a:xfrm>
            <a:off x="1095938" y="3752369"/>
            <a:ext cx="3486957" cy="110969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RESULTS</a:t>
            </a:r>
          </a:p>
        </p:txBody>
      </p:sp>
      <p:sp>
        <p:nvSpPr>
          <p:cNvPr id="49" name="Rounded Rectangle 27">
            <a:extLst>
              <a:ext uri="{FF2B5EF4-FFF2-40B4-BE49-F238E27FC236}">
                <a16:creationId xmlns:a16="http://schemas.microsoft.com/office/drawing/2014/main" id="{ED7ADF23-3F0E-42F7-9225-C9E4F354431D}"/>
              </a:ext>
            </a:extLst>
          </p:cNvPr>
          <p:cNvSpPr/>
          <p:nvPr/>
        </p:nvSpPr>
        <p:spPr>
          <a:xfrm>
            <a:off x="4206578" y="5377625"/>
            <a:ext cx="3486957" cy="1109691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500" b="1" dirty="0">
                <a:latin typeface="Calibri" panose="020F0502020204030204" pitchFamily="34" charset="0"/>
                <a:cs typeface="Calibri" panose="020F0502020204030204" pitchFamily="34" charset="0"/>
              </a:rPr>
              <a:t>DATA ANALYSI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25B5006-65FF-43C4-8D71-1858AC998E3E}"/>
              </a:ext>
            </a:extLst>
          </p:cNvPr>
          <p:cNvSpPr/>
          <p:nvPr/>
        </p:nvSpPr>
        <p:spPr>
          <a:xfrm>
            <a:off x="565211" y="55485"/>
            <a:ext cx="11061577" cy="6747030"/>
          </a:xfrm>
          <a:prstGeom prst="ellipse">
            <a:avLst/>
          </a:prstGeom>
          <a:noFill/>
          <a:ln w="63500">
            <a:gradFill flip="none" rotWithShape="1">
              <a:gsLst>
                <a:gs pos="0">
                  <a:schemeClr val="accent6">
                    <a:lumMod val="89000"/>
                  </a:schemeClr>
                </a:gs>
                <a:gs pos="23000">
                  <a:schemeClr val="accent6">
                    <a:lumMod val="89000"/>
                  </a:schemeClr>
                </a:gs>
                <a:gs pos="69000">
                  <a:schemeClr val="accent6">
                    <a:lumMod val="75000"/>
                  </a:schemeClr>
                </a:gs>
                <a:gs pos="97000">
                  <a:schemeClr val="accent6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0" name="Rounded Rectangle 27">
            <a:extLst>
              <a:ext uri="{FF2B5EF4-FFF2-40B4-BE49-F238E27FC236}">
                <a16:creationId xmlns:a16="http://schemas.microsoft.com/office/drawing/2014/main" id="{97238181-2119-4115-ACBF-C1303E48D66C}"/>
              </a:ext>
            </a:extLst>
          </p:cNvPr>
          <p:cNvSpPr/>
          <p:nvPr/>
        </p:nvSpPr>
        <p:spPr>
          <a:xfrm>
            <a:off x="7746858" y="2475053"/>
            <a:ext cx="3486957" cy="110969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EXPERIMENT, WORK DONE</a:t>
            </a:r>
          </a:p>
        </p:txBody>
      </p:sp>
      <p:sp>
        <p:nvSpPr>
          <p:cNvPr id="51" name="Rectangle: Top Corners Rounded 50">
            <a:extLst>
              <a:ext uri="{FF2B5EF4-FFF2-40B4-BE49-F238E27FC236}">
                <a16:creationId xmlns:a16="http://schemas.microsoft.com/office/drawing/2014/main" id="{F2DF1CB9-481F-4630-A156-A4C4B9BCCF39}"/>
              </a:ext>
            </a:extLst>
          </p:cNvPr>
          <p:cNvSpPr/>
          <p:nvPr/>
        </p:nvSpPr>
        <p:spPr>
          <a:xfrm>
            <a:off x="3597541" y="609120"/>
            <a:ext cx="4769163" cy="1038574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5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s &amp; Goals</a:t>
            </a:r>
          </a:p>
        </p:txBody>
      </p:sp>
      <p:sp>
        <p:nvSpPr>
          <p:cNvPr id="3" name="Rounded Rectangle 27">
            <a:extLst>
              <a:ext uri="{FF2B5EF4-FFF2-40B4-BE49-F238E27FC236}">
                <a16:creationId xmlns:a16="http://schemas.microsoft.com/office/drawing/2014/main" id="{3E2887D7-496C-4233-89FA-FFBF59F6F36D}"/>
              </a:ext>
            </a:extLst>
          </p:cNvPr>
          <p:cNvSpPr/>
          <p:nvPr/>
        </p:nvSpPr>
        <p:spPr>
          <a:xfrm>
            <a:off x="1095938" y="2427225"/>
            <a:ext cx="3486957" cy="110969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miter lim="800000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80000"/>
              </a:lnSpc>
            </a:pPr>
            <a:r>
              <a:rPr lang="en-US" sz="3000" b="1" kern="0" dirty="0">
                <a:solidFill>
                  <a:srgbClr val="002060"/>
                </a:solidFill>
                <a:latin typeface="Calibri"/>
              </a:rPr>
              <a:t>OUTCOME</a:t>
            </a:r>
          </a:p>
        </p:txBody>
      </p:sp>
    </p:spTree>
    <p:extLst>
      <p:ext uri="{BB962C8B-B14F-4D97-AF65-F5344CB8AC3E}">
        <p14:creationId xmlns:p14="http://schemas.microsoft.com/office/powerpoint/2010/main" val="3882037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2CD305-92DD-4332-B4A0-8B108DB63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3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54C7D6C-D887-46D2-B720-2489E26DE421}"/>
              </a:ext>
            </a:extLst>
          </p:cNvPr>
          <p:cNvSpPr txBox="1">
            <a:spLocks/>
          </p:cNvSpPr>
          <p:nvPr/>
        </p:nvSpPr>
        <p:spPr>
          <a:xfrm>
            <a:off x="1371599" y="457200"/>
            <a:ext cx="9982199" cy="12334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kern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600" b="1" cap="all" spc="700" dirty="0">
                <a:solidFill>
                  <a:schemeClr val="tx1"/>
                </a:solidFill>
              </a:rPr>
              <a:t>This is how we see fac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BD5C6C-7EE7-4CAC-8ED6-EBAF8C6DFA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99" y="2047240"/>
            <a:ext cx="1803400" cy="18034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BD35C69-700D-4D7C-825A-272916057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174" y="1852167"/>
            <a:ext cx="2152691" cy="2726742"/>
          </a:xfrm>
          <a:prstGeom prst="rect">
            <a:avLst/>
          </a:prstGeom>
        </p:spPr>
      </p:pic>
      <p:pic>
        <p:nvPicPr>
          <p:cNvPr id="6" name="Picture 5" descr="A picture containing person, person, wearing, indoor&#10;&#10;Description automatically generated">
            <a:extLst>
              <a:ext uri="{FF2B5EF4-FFF2-40B4-BE49-F238E27FC236}">
                <a16:creationId xmlns:a16="http://schemas.microsoft.com/office/drawing/2014/main" id="{A15CC4A2-8BCA-44A3-BBB2-D915A90DF3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99" y="4032441"/>
            <a:ext cx="1844675" cy="23683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E87917-CE75-4D6F-825F-9F730ED68F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332" y="4863193"/>
            <a:ext cx="3587750" cy="15376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2B16FC-D8E5-414B-90CC-4479E510FD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698" y="1782370"/>
            <a:ext cx="3227794" cy="181533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ECA3967-1644-4649-A02A-94F8068211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369" y="2474366"/>
            <a:ext cx="1498521" cy="22466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3223874-DACA-48B2-8ACE-994E4B12E8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4773" y="3850640"/>
            <a:ext cx="1694241" cy="241791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394508B-F663-4A58-B193-54CA6CE5C4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508" y="1328301"/>
            <a:ext cx="1816906" cy="23559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72788FE-619F-4AAE-A091-664B35462B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0822" y="3809832"/>
            <a:ext cx="1556787" cy="2458720"/>
          </a:xfrm>
          <a:prstGeom prst="rect">
            <a:avLst/>
          </a:prstGeom>
        </p:spPr>
      </p:pic>
      <p:pic>
        <p:nvPicPr>
          <p:cNvPr id="17" name="Picture 16" descr="A person standing next to a bed&#10;&#10;Description automatically generated">
            <a:extLst>
              <a:ext uri="{FF2B5EF4-FFF2-40B4-BE49-F238E27FC236}">
                <a16:creationId xmlns:a16="http://schemas.microsoft.com/office/drawing/2014/main" id="{E6F67FDE-C620-4E30-AA4B-5CBA4F038EA2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33" t="19369" r="5951" b="54160"/>
          <a:stretch/>
        </p:blipFill>
        <p:spPr>
          <a:xfrm>
            <a:off x="6375840" y="4170553"/>
            <a:ext cx="2101469" cy="2368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4808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45ADFE-C2F2-48D8-9703-E52681B6B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4</a:t>
            </a:fld>
            <a:endParaRPr lang="en-US" dirty="0"/>
          </a:p>
        </p:txBody>
      </p:sp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59D03787-F359-4243-A5E5-2A85A1F671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40" y="1534160"/>
            <a:ext cx="10954385" cy="450085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4AC3965-9E03-440A-B79C-D09349BA6D49}"/>
              </a:ext>
            </a:extLst>
          </p:cNvPr>
          <p:cNvSpPr txBox="1">
            <a:spLocks/>
          </p:cNvSpPr>
          <p:nvPr/>
        </p:nvSpPr>
        <p:spPr>
          <a:xfrm>
            <a:off x="485775" y="457200"/>
            <a:ext cx="10868024" cy="12334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cap="all" spc="7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cap="all" spc="700" dirty="0">
                <a:solidFill>
                  <a:schemeClr val="tx1"/>
                </a:solidFill>
              </a:rPr>
              <a:t>Methodology &amp; </a:t>
            </a:r>
            <a:r>
              <a:rPr lang="en-US" dirty="0"/>
              <a:t>Technology:</a:t>
            </a:r>
          </a:p>
          <a:p>
            <a:r>
              <a:rPr lang="en-US" dirty="0"/>
              <a:t>How we can also see our faces?</a:t>
            </a:r>
          </a:p>
        </p:txBody>
      </p:sp>
    </p:spTree>
    <p:extLst>
      <p:ext uri="{BB962C8B-B14F-4D97-AF65-F5344CB8AC3E}">
        <p14:creationId xmlns:p14="http://schemas.microsoft.com/office/powerpoint/2010/main" val="3851110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D9D525-871C-49F0-AE8E-7E74DFE08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5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9F8C31D-7E1E-4796-8AEA-029DD4992D96}"/>
              </a:ext>
            </a:extLst>
          </p:cNvPr>
          <p:cNvSpPr txBox="1">
            <a:spLocks/>
          </p:cNvSpPr>
          <p:nvPr/>
        </p:nvSpPr>
        <p:spPr>
          <a:xfrm>
            <a:off x="751841" y="457200"/>
            <a:ext cx="10601958" cy="12334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cap="all" spc="7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latin typeface="Arial Black" panose="020B0A04020102020204" pitchFamily="34" charset="0"/>
              </a:rPr>
              <a:t>Work done</a:t>
            </a:r>
          </a:p>
          <a:p>
            <a:pPr algn="ctr"/>
            <a:endParaRPr lang="en-US" dirty="0"/>
          </a:p>
          <a:p>
            <a:pPr algn="ctr"/>
            <a:endParaRPr lang="en-US" dirty="0">
              <a:latin typeface="Bahnschrift Condensed" panose="020B0502040204020203" pitchFamily="34" charset="0"/>
            </a:endParaRPr>
          </a:p>
          <a:p>
            <a:pPr algn="ctr"/>
            <a:r>
              <a:rPr lang="en-US" dirty="0">
                <a:latin typeface="Bahnschrift Condensed" panose="020B0502040204020203" pitchFamily="34" charset="0"/>
              </a:rPr>
              <a:t>Ready</a:t>
            </a:r>
          </a:p>
          <a:p>
            <a:pPr algn="ctr"/>
            <a:r>
              <a:rPr lang="en-US" dirty="0">
                <a:latin typeface="Bahnschrift Condensed" panose="020B0502040204020203" pitchFamily="34" charset="0"/>
              </a:rPr>
              <a:t>To </a:t>
            </a:r>
          </a:p>
          <a:p>
            <a:pPr algn="ctr"/>
            <a:r>
              <a:rPr lang="en-US" dirty="0">
                <a:latin typeface="Bahnschrift Condensed" panose="020B0502040204020203" pitchFamily="34" charset="0"/>
              </a:rPr>
              <a:t>See</a:t>
            </a:r>
          </a:p>
          <a:p>
            <a:pPr algn="ctr"/>
            <a:r>
              <a:rPr lang="en-US" dirty="0">
                <a:latin typeface="Bahnschrift Condensed" panose="020B0502040204020203" pitchFamily="34" charset="0"/>
              </a:rPr>
              <a:t>Our</a:t>
            </a:r>
          </a:p>
          <a:p>
            <a:pPr algn="ctr"/>
            <a:r>
              <a:rPr lang="en-US" dirty="0">
                <a:latin typeface="Bahnschrift Condensed" panose="020B0502040204020203" pitchFamily="34" charset="0"/>
              </a:rPr>
              <a:t>Program execution!</a:t>
            </a:r>
          </a:p>
        </p:txBody>
      </p:sp>
    </p:spTree>
    <p:extLst>
      <p:ext uri="{BB962C8B-B14F-4D97-AF65-F5344CB8AC3E}">
        <p14:creationId xmlns:p14="http://schemas.microsoft.com/office/powerpoint/2010/main" val="294085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06E8C18-67FA-46EE-A4D6-E4D35EB58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6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86E65B-126C-4B44-AB0A-D5D3DB2FB3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648" y="714762"/>
            <a:ext cx="3721388" cy="2480925"/>
          </a:xfrm>
          <a:prstGeom prst="rect">
            <a:avLst/>
          </a:prstGeom>
        </p:spPr>
      </p:pic>
      <p:pic>
        <p:nvPicPr>
          <p:cNvPr id="6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1C342844-363C-4E30-B75E-BBA3C979427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242" b="17185"/>
          <a:stretch/>
        </p:blipFill>
        <p:spPr>
          <a:xfrm flipH="1">
            <a:off x="5111979" y="384823"/>
            <a:ext cx="1302161" cy="960906"/>
          </a:xfrm>
          <a:prstGeom prst="rect">
            <a:avLst/>
          </a:prstGeom>
        </p:spPr>
      </p:pic>
      <p:pic>
        <p:nvPicPr>
          <p:cNvPr id="8" name="Picture 7" descr="A picture containing text, computer, computer, indoor&#10;&#10;Description automatically generated">
            <a:extLst>
              <a:ext uri="{FF2B5EF4-FFF2-40B4-BE49-F238E27FC236}">
                <a16:creationId xmlns:a16="http://schemas.microsoft.com/office/drawing/2014/main" id="{3F8C1238-6F53-41C7-9113-EBECC72F17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966" y="1331655"/>
            <a:ext cx="3966102" cy="2645085"/>
          </a:xfrm>
          <a:prstGeom prst="rect">
            <a:avLst/>
          </a:prstGeom>
        </p:spPr>
      </p:pic>
      <p:pic>
        <p:nvPicPr>
          <p:cNvPr id="10" name="Picture 9" descr="A picture containing person, person, suit, business&#10;&#10;Description automatically generated">
            <a:extLst>
              <a:ext uri="{FF2B5EF4-FFF2-40B4-BE49-F238E27FC236}">
                <a16:creationId xmlns:a16="http://schemas.microsoft.com/office/drawing/2014/main" id="{4B6A068D-7E0F-4A2A-BB04-9510D02DC7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4499" y="3797996"/>
            <a:ext cx="4271071" cy="284664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CB7A92E-39DE-4697-BFDD-58FFBCF72A8F}"/>
              </a:ext>
            </a:extLst>
          </p:cNvPr>
          <p:cNvSpPr txBox="1"/>
          <p:nvPr/>
        </p:nvSpPr>
        <p:spPr>
          <a:xfrm>
            <a:off x="5219450" y="1578706"/>
            <a:ext cx="1194690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tage 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C8B4EB-F2FA-48DE-8EA8-E1BF4CA72193}"/>
              </a:ext>
            </a:extLst>
          </p:cNvPr>
          <p:cNvSpPr txBox="1"/>
          <p:nvPr/>
        </p:nvSpPr>
        <p:spPr>
          <a:xfrm>
            <a:off x="6755570" y="384823"/>
            <a:ext cx="1194690" cy="369332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tage 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0AF513-E452-4FF3-8867-2D2E16BB0C63}"/>
              </a:ext>
            </a:extLst>
          </p:cNvPr>
          <p:cNvSpPr txBox="1"/>
          <p:nvPr/>
        </p:nvSpPr>
        <p:spPr>
          <a:xfrm>
            <a:off x="8948245" y="548473"/>
            <a:ext cx="1194690" cy="369332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tage 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C08C74-35AF-4F42-9A7A-7CF410F798DA}"/>
              </a:ext>
            </a:extLst>
          </p:cNvPr>
          <p:cNvSpPr txBox="1"/>
          <p:nvPr/>
        </p:nvSpPr>
        <p:spPr>
          <a:xfrm>
            <a:off x="8936541" y="4380427"/>
            <a:ext cx="1194690" cy="369332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tage 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CA86D4-8B37-41BB-9DCA-12BD164D1EE7}"/>
              </a:ext>
            </a:extLst>
          </p:cNvPr>
          <p:cNvSpPr txBox="1"/>
          <p:nvPr/>
        </p:nvSpPr>
        <p:spPr>
          <a:xfrm>
            <a:off x="710896" y="3863198"/>
            <a:ext cx="1194690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tage 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D56EE7-E498-42F9-A8D3-41AAB92A7C3C}"/>
              </a:ext>
            </a:extLst>
          </p:cNvPr>
          <p:cNvSpPr txBox="1"/>
          <p:nvPr/>
        </p:nvSpPr>
        <p:spPr>
          <a:xfrm>
            <a:off x="5111978" y="2048643"/>
            <a:ext cx="1571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CTV Detects the Fa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555B376-27A4-4B4F-9327-5270A6263DC0}"/>
              </a:ext>
            </a:extLst>
          </p:cNvPr>
          <p:cNvSpPr txBox="1"/>
          <p:nvPr/>
        </p:nvSpPr>
        <p:spPr>
          <a:xfrm>
            <a:off x="6683603" y="758133"/>
            <a:ext cx="1571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ecords a small clip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6E09858-20C9-4FDD-BCA0-1C03475C9B75}"/>
              </a:ext>
            </a:extLst>
          </p:cNvPr>
          <p:cNvSpPr txBox="1"/>
          <p:nvPr/>
        </p:nvSpPr>
        <p:spPr>
          <a:xfrm>
            <a:off x="10180642" y="281079"/>
            <a:ext cx="15716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ends it to Manager System</a:t>
            </a:r>
          </a:p>
          <a:p>
            <a:r>
              <a:rPr lang="en-US" sz="1400" dirty="0"/>
              <a:t>and process the progra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2093FA0-387E-4CAF-8CA0-4FD890BE9555}"/>
              </a:ext>
            </a:extLst>
          </p:cNvPr>
          <p:cNvSpPr txBox="1"/>
          <p:nvPr/>
        </p:nvSpPr>
        <p:spPr>
          <a:xfrm>
            <a:off x="8276359" y="4937146"/>
            <a:ext cx="25573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anager is notified:</a:t>
            </a:r>
          </a:p>
          <a:p>
            <a:r>
              <a:rPr lang="en-US" sz="1400" b="1" dirty="0">
                <a:solidFill>
                  <a:schemeClr val="accent2"/>
                </a:solidFill>
              </a:rPr>
              <a:t>“Our Premium Customer has walked in.”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5F986AE-E89A-4970-AE41-7496AE58E0C7}"/>
              </a:ext>
            </a:extLst>
          </p:cNvPr>
          <p:cNvSpPr txBox="1"/>
          <p:nvPr/>
        </p:nvSpPr>
        <p:spPr>
          <a:xfrm>
            <a:off x="315445" y="4428609"/>
            <a:ext cx="18338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anager Walks to the customer and treats him special</a:t>
            </a:r>
          </a:p>
        </p:txBody>
      </p:sp>
    </p:spTree>
    <p:extLst>
      <p:ext uri="{BB962C8B-B14F-4D97-AF65-F5344CB8AC3E}">
        <p14:creationId xmlns:p14="http://schemas.microsoft.com/office/powerpoint/2010/main" val="117316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B1E0A-7713-4E87-A02A-C1730D43C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7</a:t>
            </a:fld>
            <a:endParaRPr lang="en-US" dirty="0"/>
          </a:p>
        </p:txBody>
      </p:sp>
      <p:pic>
        <p:nvPicPr>
          <p:cNvPr id="4" name="Picture 3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E04ED011-A246-4442-AFC5-8FD4972ED47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555" b="-1"/>
          <a:stretch/>
        </p:blipFill>
        <p:spPr>
          <a:xfrm>
            <a:off x="1061720" y="1121409"/>
            <a:ext cx="9758680" cy="548925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3195A42-9661-4C61-893A-9B813936C997}"/>
              </a:ext>
            </a:extLst>
          </p:cNvPr>
          <p:cNvSpPr txBox="1">
            <a:spLocks/>
          </p:cNvSpPr>
          <p:nvPr/>
        </p:nvSpPr>
        <p:spPr>
          <a:xfrm>
            <a:off x="1104899" y="555173"/>
            <a:ext cx="9982199" cy="5384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kern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600" b="1" cap="all" spc="700" dirty="0">
                <a:solidFill>
                  <a:schemeClr val="tx1"/>
                </a:solidFill>
              </a:rPr>
              <a:t>Code explained</a:t>
            </a:r>
          </a:p>
        </p:txBody>
      </p:sp>
    </p:spTree>
    <p:extLst>
      <p:ext uri="{BB962C8B-B14F-4D97-AF65-F5344CB8AC3E}">
        <p14:creationId xmlns:p14="http://schemas.microsoft.com/office/powerpoint/2010/main" val="1728582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64D53D-E52E-4D30-A0D7-BD9903158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8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1EC4A8A-D8C3-4491-8254-C4661632D5DD}"/>
              </a:ext>
            </a:extLst>
          </p:cNvPr>
          <p:cNvSpPr txBox="1">
            <a:spLocks/>
          </p:cNvSpPr>
          <p:nvPr/>
        </p:nvSpPr>
        <p:spPr>
          <a:xfrm>
            <a:off x="1104899" y="555173"/>
            <a:ext cx="9982199" cy="5384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0" kern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600" b="1" cap="all" spc="700" dirty="0">
                <a:solidFill>
                  <a:schemeClr val="tx1"/>
                </a:solidFill>
              </a:rPr>
              <a:t>Image frames being printed</a:t>
            </a:r>
          </a:p>
        </p:txBody>
      </p:sp>
      <p:pic>
        <p:nvPicPr>
          <p:cNvPr id="4" name="Picture 3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248E719-50BE-4EE9-8345-380A89E8D2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555" y="1446805"/>
            <a:ext cx="11002889" cy="499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605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74A0C5-2A3B-48CE-A121-A5BA01C8F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5DBF2-A8CF-448E-B167-C826703D0B69}" type="slidenum">
              <a:rPr lang="en-US" smtClean="0"/>
              <a:t>9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064CA1-745D-4945-A32E-234B7E2B3C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667" t="25778" r="4751" b="44444"/>
          <a:stretch/>
        </p:blipFill>
        <p:spPr>
          <a:xfrm>
            <a:off x="952423" y="2655910"/>
            <a:ext cx="9215120" cy="20421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044878C-A851-46A4-9263-9B37FDDDFAF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18" r="42130"/>
          <a:stretch/>
        </p:blipFill>
        <p:spPr bwMode="auto">
          <a:xfrm>
            <a:off x="8243478" y="856583"/>
            <a:ext cx="2047240" cy="430149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DF2CEFC-97F6-481A-9D5A-2C35294ABDE4}"/>
              </a:ext>
            </a:extLst>
          </p:cNvPr>
          <p:cNvSpPr txBox="1">
            <a:spLocks/>
          </p:cNvSpPr>
          <p:nvPr/>
        </p:nvSpPr>
        <p:spPr>
          <a:xfrm>
            <a:off x="952423" y="344078"/>
            <a:ext cx="9982199" cy="12334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cap="all" spc="7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rame 35</a:t>
            </a:r>
          </a:p>
        </p:txBody>
      </p:sp>
    </p:spTree>
    <p:extLst>
      <p:ext uri="{BB962C8B-B14F-4D97-AF65-F5344CB8AC3E}">
        <p14:creationId xmlns:p14="http://schemas.microsoft.com/office/powerpoint/2010/main" val="1961414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1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C00000"/>
      </a:accent1>
      <a:accent2>
        <a:srgbClr val="FFBD47"/>
      </a:accent2>
      <a:accent3>
        <a:srgbClr val="7F7F7F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Roboto">
      <a:majorFont>
        <a:latin typeface="Roboto Medium"/>
        <a:ea typeface=""/>
        <a:cs typeface="FontAwesome"/>
      </a:majorFont>
      <a:minorFont>
        <a:latin typeface="Roboto Condensed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5_Default Theme">
  <a:themeElements>
    <a:clrScheme name="Oracle 10g">
      <a:dk1>
        <a:srgbClr val="58595B"/>
      </a:dk1>
      <a:lt1>
        <a:srgbClr val="FFFFFF"/>
      </a:lt1>
      <a:dk2>
        <a:srgbClr val="374A58"/>
      </a:dk2>
      <a:lt2>
        <a:srgbClr val="C8D9DE"/>
      </a:lt2>
      <a:accent1>
        <a:srgbClr val="F80000"/>
      </a:accent1>
      <a:accent2>
        <a:srgbClr val="8EADBF"/>
      </a:accent2>
      <a:accent3>
        <a:srgbClr val="FF8D14"/>
      </a:accent3>
      <a:accent4>
        <a:srgbClr val="007395"/>
      </a:accent4>
      <a:accent5>
        <a:srgbClr val="A52641"/>
      </a:accent5>
      <a:accent6>
        <a:srgbClr val="3A913F"/>
      </a:accent6>
      <a:hlink>
        <a:srgbClr val="1F4F82"/>
      </a:hlink>
      <a:folHlink>
        <a:srgbClr val="8A8C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1555E"/>
        </a:solidFill>
        <a:ln w="19050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5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cle-16x9-2016-160824.potx" id="{3DB227D6-85D8-9A45-98B2-F7108128ADBF}" vid="{AFB409E2-9D21-8A40-8956-31FE3A47A9FA}"/>
    </a:ext>
  </a:extLst>
</a:theme>
</file>

<file path=ppt/theme/theme3.xml><?xml version="1.0" encoding="utf-8"?>
<a:theme xmlns:a="http://schemas.openxmlformats.org/drawingml/2006/main" name="Depth">
  <a:themeElements>
    <a:clrScheme name="Depth">
      <a:dk1>
        <a:sysClr val="windowText" lastClr="000000"/>
      </a:dk1>
      <a:lt1>
        <a:sysClr val="window" lastClr="FFFFFF"/>
      </a:lt1>
      <a:dk2>
        <a:srgbClr val="455F51"/>
      </a:dk2>
      <a:lt2>
        <a:srgbClr val="94D7E4"/>
      </a:lt2>
      <a:accent1>
        <a:srgbClr val="41AEBD"/>
      </a:accent1>
      <a:accent2>
        <a:srgbClr val="97E9D5"/>
      </a:accent2>
      <a:accent3>
        <a:srgbClr val="A2CF49"/>
      </a:accent3>
      <a:accent4>
        <a:srgbClr val="608F3D"/>
      </a:accent4>
      <a:accent5>
        <a:srgbClr val="F4DE3A"/>
      </a:accent5>
      <a:accent6>
        <a:srgbClr val="FCB11C"/>
      </a:accent6>
      <a:hlink>
        <a:srgbClr val="FBCA98"/>
      </a:hlink>
      <a:folHlink>
        <a:srgbClr val="D3B86D"/>
      </a:folHlink>
    </a:clrScheme>
    <a:fontScheme name="Depth">
      <a:maj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epth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pth" id="{7BEAFC2A-325C-49C4-AC08-2B765DA903F9}" vid="{1735E755-43E6-43AA-ABA2-C989ECC79AF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BA4AB6F8CEBA45AD055D24451982B5" ma:contentTypeVersion="10" ma:contentTypeDescription="Create a new document." ma:contentTypeScope="" ma:versionID="12b68e5825b914acc43cc6a291db364d">
  <xsd:schema xmlns:xsd="http://www.w3.org/2001/XMLSchema" xmlns:xs="http://www.w3.org/2001/XMLSchema" xmlns:p="http://schemas.microsoft.com/office/2006/metadata/properties" xmlns:ns3="29fd33e8-e430-4db0-b54a-22bd39515059" targetNamespace="http://schemas.microsoft.com/office/2006/metadata/properties" ma:root="true" ma:fieldsID="3590249892e3fc5d6626519d0bf50e0b" ns3:_="">
    <xsd:import namespace="29fd33e8-e430-4db0-b54a-22bd3951505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fd33e8-e430-4db0-b54a-22bd395150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A9FD4A6-7795-48E0-929E-C8BFA868E3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CB2DA7-954F-4F30-AFFF-844AD2A8186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293286F0-D83B-4BBE-B485-776B93B234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fd33e8-e430-4db0-b54a-22bd395150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7</TotalTime>
  <Words>146</Words>
  <Application>Microsoft Office PowerPoint</Application>
  <PresentationFormat>Widescreen</PresentationFormat>
  <Paragraphs>5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Arial</vt:lpstr>
      <vt:lpstr>Arial Black</vt:lpstr>
      <vt:lpstr>Bahnschrift Condensed</vt:lpstr>
      <vt:lpstr>Calibri</vt:lpstr>
      <vt:lpstr>Century Gothic</vt:lpstr>
      <vt:lpstr>Corbel</vt:lpstr>
      <vt:lpstr>Optima</vt:lpstr>
      <vt:lpstr>Roboto Condensed</vt:lpstr>
      <vt:lpstr>Roboto Medium</vt:lpstr>
      <vt:lpstr>Custom Design</vt:lpstr>
      <vt:lpstr>5_Default Theme</vt:lpstr>
      <vt:lpstr>Depth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ssain Challawala</dc:creator>
  <cp:lastModifiedBy>Mohamed Idris Maricar</cp:lastModifiedBy>
  <cp:revision>14</cp:revision>
  <dcterms:created xsi:type="dcterms:W3CDTF">2020-10-17T09:48:11Z</dcterms:created>
  <dcterms:modified xsi:type="dcterms:W3CDTF">2020-11-08T19:32:56Z</dcterms:modified>
</cp:coreProperties>
</file>